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7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F815-408F-AB0B-F952-CBFAC9D5B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0418B56-CAC3-A5F4-4927-A17370497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418B56-CAC3-A5F4-4927-A17370497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55BC75-1747-F7D5-2EE1-FEE8F076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20D106B-601E-8211-DD29-376518C2DB8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C9AA7DF-437B-A6AE-A60C-01EFDD66DC15}"/>
              </a:ext>
            </a:extLst>
          </p:cNvPr>
          <p:cNvGraphicFramePr>
            <a:graphicFrameLocks noGrp="1"/>
          </p:cNvGraphicFramePr>
          <p:nvPr/>
        </p:nvGraphicFramePr>
        <p:xfrm>
          <a:off x="762308" y="1062429"/>
          <a:ext cx="10667385" cy="436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477">
                  <a:extLst>
                    <a:ext uri="{9D8B030D-6E8A-4147-A177-3AD203B41FA5}">
                      <a16:colId xmlns:a16="http://schemas.microsoft.com/office/drawing/2014/main" val="3077138859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2990919094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1132258403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423687948"/>
                    </a:ext>
                  </a:extLst>
                </a:gridCol>
                <a:gridCol w="2133477">
                  <a:extLst>
                    <a:ext uri="{9D8B030D-6E8A-4147-A177-3AD203B41FA5}">
                      <a16:colId xmlns:a16="http://schemas.microsoft.com/office/drawing/2014/main" val="3618411138"/>
                    </a:ext>
                  </a:extLst>
                </a:gridCol>
              </a:tblGrid>
              <a:tr h="41908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ompany Product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arget Customer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Benefits 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Value Proposition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4481279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848440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427161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799504"/>
                  </a:ext>
                </a:extLst>
              </a:tr>
              <a:tr h="985327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sert Text Here</a:t>
                      </a:r>
                    </a:p>
                  </a:txBody>
                  <a:tcPr marL="85322" marR="85322" marT="85322" marB="85322" anchor="ctr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171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6</TotalTime>
  <Words>7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02</cp:revision>
  <dcterms:created xsi:type="dcterms:W3CDTF">2021-03-31T02:49:57Z</dcterms:created>
  <dcterms:modified xsi:type="dcterms:W3CDTF">2025-10-15T02:46:40Z</dcterms:modified>
  <cp:category/>
</cp:coreProperties>
</file>